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0" r:id="rId2"/>
    <p:sldId id="384" r:id="rId3"/>
    <p:sldId id="379" r:id="rId4"/>
  </p:sldIdLst>
  <p:sldSz cx="8961438" cy="6721475"/>
  <p:notesSz cx="6811963" cy="99425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D0D0CE"/>
    <a:srgbClr val="BBBCBC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39424" autoAdjust="0"/>
  </p:normalViewPr>
  <p:slideViewPr>
    <p:cSldViewPr snapToGrid="0" snapToObjects="1">
      <p:cViewPr varScale="1">
        <p:scale>
          <a:sx n="178" d="100"/>
          <a:sy n="178" d="100"/>
        </p:scale>
        <p:origin x="2178" y="15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3888"/>
            <a:ext cx="5834063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8"/>
            <a:ext cx="5804922" cy="1226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4" y="9561185"/>
            <a:ext cx="540402" cy="18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69" y="110659"/>
            <a:ext cx="66" cy="123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7562" indent="-28752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0095" indent="-230019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0134" indent="-230019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0173" indent="-230019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30210" indent="-23001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90249" indent="-23001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50287" indent="-23001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10325" indent="-23001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/>
              <a:pPr eaLnBrk="1" hangingPunct="1"/>
              <a:t>0</a:t>
            </a:fld>
            <a:endParaRPr lang="en-US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1628" y="5342508"/>
            <a:ext cx="5804922" cy="245376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301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02005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013-03-12 </a:t>
            </a:r>
            <a:r>
              <a:rPr lang="ko-KR" altLang="en-US" sz="900" baseline="0" noProof="0">
                <a:latin typeface="+mn-lt"/>
              </a:rPr>
              <a:t>오전 </a:t>
            </a:r>
            <a:r>
              <a:rPr lang="en-US" altLang="ko-KR" sz="900" baseline="0" noProof="0">
                <a:latin typeface="+mn-lt"/>
              </a:rPr>
              <a:t>12:01 </a:t>
            </a:r>
            <a:r>
              <a:rPr lang="en-US" sz="900" baseline="0" noProof="0">
                <a:latin typeface="+mn-lt"/>
              </a:rPr>
              <a:t>Korea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6353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Printed 2013-03-11 </a:t>
            </a:r>
            <a:r>
              <a:rPr lang="ko-KR" altLang="en-US" sz="900" baseline="0" noProof="0">
                <a:latin typeface="+mn-lt"/>
              </a:rPr>
              <a:t>오후 </a:t>
            </a:r>
            <a:r>
              <a:rPr lang="en-US" altLang="ko-KR" sz="900" baseline="0" noProof="0">
                <a:latin typeface="+mn-lt"/>
              </a:rPr>
              <a:t>1:58 </a:t>
            </a:r>
            <a:r>
              <a:rPr lang="en-US" sz="900" baseline="0" noProof="0">
                <a:latin typeface="+mn-lt"/>
              </a:rPr>
              <a:t>Korea Standard Time</a:t>
            </a:r>
            <a:endParaRPr lang="en-US" sz="900" baseline="0" noProof="0" dirty="0">
              <a:latin typeface="+mn-lt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직사각형 26"/>
          <p:cNvSpPr/>
          <p:nvPr userDrawn="1"/>
        </p:nvSpPr>
        <p:spPr>
          <a:xfrm>
            <a:off x="6741536" y="0"/>
            <a:ext cx="2219902" cy="6726238"/>
          </a:xfrm>
          <a:prstGeom prst="rect">
            <a:avLst/>
          </a:prstGeom>
          <a:solidFill>
            <a:srgbClr val="D0D0C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28" name="그룹 27"/>
          <p:cNvGrpSpPr/>
          <p:nvPr userDrawn="1"/>
        </p:nvGrpSpPr>
        <p:grpSpPr>
          <a:xfrm>
            <a:off x="0" y="4554749"/>
            <a:ext cx="8961438" cy="1721402"/>
            <a:chOff x="2318004" y="3723578"/>
            <a:chExt cx="6825996" cy="1632108"/>
          </a:xfrm>
        </p:grpSpPr>
        <p:sp>
          <p:nvSpPr>
            <p:cNvPr id="29" name="직사각형 28"/>
            <p:cNvSpPr/>
            <p:nvPr/>
          </p:nvSpPr>
          <p:spPr>
            <a:xfrm>
              <a:off x="2318004" y="3723578"/>
              <a:ext cx="6825996" cy="1632108"/>
            </a:xfrm>
            <a:prstGeom prst="rect">
              <a:avLst/>
            </a:prstGeom>
            <a:solidFill>
              <a:srgbClr val="4472C4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grpSp>
          <p:nvGrpSpPr>
            <p:cNvPr id="30" name="그룹 29"/>
            <p:cNvGrpSpPr/>
            <p:nvPr/>
          </p:nvGrpSpPr>
          <p:grpSpPr>
            <a:xfrm>
              <a:off x="2567801" y="3798272"/>
              <a:ext cx="6372192" cy="379355"/>
              <a:chOff x="3426063" y="3921359"/>
              <a:chExt cx="8291676" cy="505806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3426063" y="3921359"/>
                <a:ext cx="8247778" cy="5058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NP</a:t>
                </a:r>
                <a:endParaRPr kumimoji="0" lang="ko-KR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cxnSp>
            <p:nvCxnSpPr>
              <p:cNvPr id="33" name="직선 연결선 32"/>
              <p:cNvCxnSpPr>
                <a:cxnSpLocks/>
              </p:cNvCxnSpPr>
              <p:nvPr/>
            </p:nvCxnSpPr>
            <p:spPr>
              <a:xfrm>
                <a:off x="3426063" y="4383024"/>
                <a:ext cx="8291676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094892" y="5119504"/>
            <a:ext cx="5595021" cy="43088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 dirty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94892" y="5710367"/>
            <a:ext cx="559502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r"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 dirty="0"/>
              <a:t>Click to edit Master subtitle style</a:t>
            </a:r>
            <a:endParaRPr lang="en-US" noProof="0" dirty="0"/>
          </a:p>
        </p:txBody>
      </p:sp>
      <p:sp>
        <p:nvSpPr>
          <p:cNvPr id="34" name="McK Disclaimer"/>
          <p:cNvSpPr>
            <a:spLocks noChangeArrowheads="1"/>
          </p:cNvSpPr>
          <p:nvPr userDrawn="1"/>
        </p:nvSpPr>
        <p:spPr bwMode="auto">
          <a:xfrm>
            <a:off x="327803" y="244629"/>
            <a:ext cx="512064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="1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latin typeface="+mn-lt"/>
              </a:rPr>
              <a:t>Any use of this material without specific permission of TNP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70669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389152"/>
            <a:ext cx="8961438" cy="333911"/>
          </a:xfrm>
          <a:prstGeom prst="rect">
            <a:avLst/>
          </a:prstGeom>
          <a:solidFill>
            <a:srgbClr val="D0D0CE"/>
          </a:solidFill>
          <a:ln>
            <a:noFill/>
          </a:ln>
          <a:effec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880093" y="1940591"/>
            <a:ext cx="20229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013-03-12 </a:t>
            </a:r>
            <a:r>
              <a:rPr lang="ko-KR" altLang="en-US" sz="600" baseline="0" noProof="0">
                <a:latin typeface="+mn-lt"/>
                <a:ea typeface="+mn-ea"/>
              </a:rPr>
              <a:t>오전 </a:t>
            </a:r>
            <a:r>
              <a:rPr lang="en-US" altLang="ko-KR" sz="600" baseline="0" noProof="0">
                <a:latin typeface="+mn-lt"/>
                <a:ea typeface="+mn-ea"/>
              </a:rPr>
              <a:t>12:01 </a:t>
            </a:r>
            <a:r>
              <a:rPr lang="en-US" sz="600" baseline="0" noProof="0">
                <a:latin typeface="+mn-lt"/>
                <a:ea typeface="+mn-ea"/>
              </a:rPr>
              <a:t>Korea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009135" y="4114417"/>
            <a:ext cx="176490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2013-03-11 </a:t>
            </a:r>
            <a:r>
              <a:rPr lang="ko-KR" altLang="en-US" sz="600" baseline="0" noProof="0">
                <a:latin typeface="+mn-lt"/>
                <a:ea typeface="+mn-ea"/>
              </a:rPr>
              <a:t>오후 </a:t>
            </a:r>
            <a:r>
              <a:rPr lang="en-US" altLang="ko-KR" sz="600" baseline="0" noProof="0">
                <a:latin typeface="+mn-lt"/>
                <a:ea typeface="+mn-ea"/>
              </a:rPr>
              <a:t>1:58 </a:t>
            </a:r>
            <a:r>
              <a:rPr lang="en-US" sz="600" baseline="0" noProof="0">
                <a:latin typeface="+mn-lt"/>
                <a:ea typeface="+mn-ea"/>
              </a:rPr>
              <a:t>Korea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noProof="0" dirty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8076308" y="6475749"/>
            <a:ext cx="25648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="1" baseline="0" noProof="0" dirty="0">
                <a:latin typeface="+mn-lt"/>
                <a:ea typeface="+mn-ea"/>
              </a:rPr>
              <a:t>TNP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419112" y="6444743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aphicFrame>
        <p:nvGraphicFramePr>
          <p:cNvPr id="22" name="표 2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86739913"/>
              </p:ext>
            </p:extLst>
          </p:nvPr>
        </p:nvGraphicFramePr>
        <p:xfrm>
          <a:off x="-1821201" y="106767"/>
          <a:ext cx="864000" cy="2880000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25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4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altLang="ko-KR" sz="900" b="1" kern="0" dirty="0">
                          <a:latin typeface="Arial Narrow" panose="020B060602020203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227. 228. 141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6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214. 0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4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188. 37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7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176. 42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. 106. 56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523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4. 82. 52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21. 239. 232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7. 212. 207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1. 194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180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B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. 171. 171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. 151. 169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118. 128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. 79. 89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55.</a:t>
                      </a:r>
                      <a:r>
                        <a:rPr lang="en-US" altLang="ko-KR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213. 0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3. 146. 0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061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27. 6. 19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3" name="표 2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35980105"/>
              </p:ext>
            </p:extLst>
          </p:nvPr>
        </p:nvGraphicFramePr>
        <p:xfrm>
          <a:off x="-929924" y="106767"/>
          <a:ext cx="864000" cy="2880000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25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62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0. 22. 34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0D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60. 220. 255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B5E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98. 181. 229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0. 163. 224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0. 118. 168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58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0. 85. 135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216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. 33. 105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1E4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. 30.</a:t>
                      </a:r>
                      <a:r>
                        <a:rPr lang="en-US" altLang="ko-KR" sz="9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66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08. 208. 206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BCB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87. 188.</a:t>
                      </a:r>
                      <a:r>
                        <a:rPr lang="en-US" altLang="ko-KR" sz="9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188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9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51.153. 155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787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17.</a:t>
                      </a:r>
                      <a:r>
                        <a:rPr lang="en-US" altLang="ko-KR" sz="9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120. 123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83. 86. 90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0. 0.</a:t>
                      </a:r>
                      <a:r>
                        <a:rPr lang="en-US" altLang="ko-KR" sz="9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0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98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72. 152. 219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ctr"/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55.242.127</a:t>
                      </a:r>
                      <a:endParaRPr lang="ko-KR" alt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latinLnBrk="1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1" hangingPunct="1">
        <a:spcBef>
          <a:spcPct val="0"/>
        </a:spcBef>
        <a:spcAft>
          <a:spcPts val="200"/>
        </a:spcAft>
        <a:buClr>
          <a:schemeClr val="tx2"/>
        </a:buClr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latinLnBrk="1" hangingPunct="1">
        <a:spcBef>
          <a:spcPct val="0"/>
        </a:spcBef>
        <a:spcAft>
          <a:spcPts val="200"/>
        </a:spcAft>
        <a:buClr>
          <a:schemeClr val="tx2"/>
        </a:buClr>
        <a:buSzPct val="125000"/>
        <a:buFont typeface="Arial" charset="0"/>
        <a:buChar char="▪"/>
        <a:defRPr sz="11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latinLnBrk="1" hangingPunct="1">
        <a:spcBef>
          <a:spcPct val="0"/>
        </a:spcBef>
        <a:spcAft>
          <a:spcPts val="20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latinLnBrk="1" hangingPunct="1">
        <a:spcBef>
          <a:spcPct val="0"/>
        </a:spcBef>
        <a:spcAft>
          <a:spcPts val="200"/>
        </a:spcAft>
        <a:buClr>
          <a:schemeClr val="tx2"/>
        </a:buClr>
        <a:buSzPct val="120000"/>
        <a:buFont typeface="Arial" charset="0"/>
        <a:buChar char="▫"/>
        <a:defRPr sz="11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latinLnBrk="1" hangingPunct="1">
        <a:spcBef>
          <a:spcPct val="0"/>
        </a:spcBef>
        <a:spcAft>
          <a:spcPts val="20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57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 eaLnBrk="1" hangingPunct="1"/>
            <a:r>
              <a:rPr lang="en-US" dirty="0">
                <a:latin typeface="+mn-lt"/>
                <a:ea typeface="+mn-ea"/>
              </a:rPr>
              <a:t>2025</a:t>
            </a:r>
            <a:r>
              <a:rPr lang="en-US">
                <a:latin typeface="+mn-lt"/>
                <a:ea typeface="+mn-ea"/>
              </a:rPr>
              <a:t>, Oct</a:t>
            </a:r>
            <a:endParaRPr lang="en-US" dirty="0">
              <a:latin typeface="+mn-lt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r"/>
            <a:r>
              <a:rPr lang="en-US" altLang="ko-KR" dirty="0"/>
              <a:t>OPT - Documentation</a:t>
            </a:r>
            <a:endParaRPr lang="ko-KR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E1EAABC-1E07-47EA-B071-6CD203EF6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39318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 txBox="1"/>
          <p:nvPr/>
        </p:nvSpPr>
        <p:spPr>
          <a:xfrm>
            <a:off x="2405859" y="3074733"/>
            <a:ext cx="43021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latin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latin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 latinLnBrk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altLang="ko-KR" sz="2400" b="1" dirty="0"/>
              <a:t>End of Document</a:t>
            </a:r>
          </a:p>
        </p:txBody>
      </p:sp>
    </p:spTree>
    <p:extLst>
      <p:ext uri="{BB962C8B-B14F-4D97-AF65-F5344CB8AC3E}">
        <p14:creationId xmlns:p14="http://schemas.microsoft.com/office/powerpoint/2010/main" val="320963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2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사용자 지정 1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0</TotalTime>
  <Words>10</Words>
  <Application>Microsoft Office PowerPoint</Application>
  <PresentationFormat>사용자 지정</PresentationFormat>
  <Paragraphs>4</Paragraphs>
  <Slides>3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8" baseType="lpstr">
      <vt:lpstr>Arial</vt:lpstr>
      <vt:lpstr>Arial Narrow</vt:lpstr>
      <vt:lpstr>Calibri</vt:lpstr>
      <vt:lpstr>Firm Format - English (US)</vt:lpstr>
      <vt:lpstr>think-cell Slide</vt:lpstr>
      <vt:lpstr>OPT - Documentation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2-26T22:20:41Z</dcterms:created>
  <dcterms:modified xsi:type="dcterms:W3CDTF">2025-10-08T05:42:04Z</dcterms:modified>
</cp:coreProperties>
</file>